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495" r:id="rId2"/>
    <p:sldId id="515" r:id="rId3"/>
    <p:sldId id="516" r:id="rId4"/>
    <p:sldId id="517" r:id="rId5"/>
    <p:sldId id="498" r:id="rId6"/>
    <p:sldId id="514" r:id="rId7"/>
    <p:sldId id="518" r:id="rId8"/>
  </p:sldIdLst>
  <p:sldSz cx="9144000" cy="6858000" type="screen4x3"/>
  <p:notesSz cx="10007600" cy="6794500"/>
  <p:custDataLst>
    <p:tags r:id="rId1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abian Scheurer" initials="fsc" lastIdx="23" clrIdx="0"/>
  <p:cmAuthor id="1" name="Walter Fallegger" initials="WF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5D5"/>
    <a:srgbClr val="FFFFFF"/>
    <a:srgbClr val="EBF0FA"/>
    <a:srgbClr val="EBF5FA"/>
    <a:srgbClr val="00339B"/>
    <a:srgbClr val="FFDC44"/>
    <a:srgbClr val="E64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8084" autoAdjust="0"/>
    <p:restoredTop sz="97789" autoAdjust="0"/>
  </p:normalViewPr>
  <p:slideViewPr>
    <p:cSldViewPr showGuides="1">
      <p:cViewPr>
        <p:scale>
          <a:sx n="90" d="100"/>
          <a:sy n="90" d="100"/>
        </p:scale>
        <p:origin x="-540" y="-96"/>
      </p:cViewPr>
      <p:guideLst>
        <p:guide orient="horz" pos="1162"/>
        <p:guide orient="horz" pos="436"/>
        <p:guide orient="horz" pos="3884"/>
        <p:guide orient="horz" pos="3612"/>
        <p:guide orient="horz" pos="2160"/>
        <p:guide pos="385"/>
        <p:guide pos="5375"/>
        <p:guide pos="2880"/>
        <p:guide pos="2971"/>
        <p:guide pos="2789"/>
      </p:guideLst>
    </p:cSldViewPr>
  </p:slideViewPr>
  <p:outlineViewPr>
    <p:cViewPr>
      <p:scale>
        <a:sx n="33" d="100"/>
        <a:sy n="33" d="100"/>
      </p:scale>
      <p:origin x="0" y="18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127" d="100"/>
          <a:sy n="127" d="100"/>
        </p:scale>
        <p:origin x="-1674" y="-102"/>
      </p:cViewPr>
      <p:guideLst>
        <p:guide orient="horz" pos="2140"/>
        <p:guide pos="315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2"/>
            <a:ext cx="433771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69883" y="2"/>
            <a:ext cx="433771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A7772BF3-AF3D-43EE-B1A5-F68EFE48C881}" type="datetime1">
              <a:rPr lang="de-DE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54777"/>
            <a:ext cx="4337718" cy="33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r>
              <a:rPr lang="de-DE" dirty="0"/>
              <a:t>Corporate Presentation</a:t>
            </a: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69883" y="6454777"/>
            <a:ext cx="4337718" cy="33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8128B4CB-9FB8-4530-8BC9-B71C8AF4697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662314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2"/>
            <a:ext cx="433771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69883" y="2"/>
            <a:ext cx="433771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C5623922-EA55-48C0-A093-F275FF7952E4}" type="datetime1">
              <a:rPr lang="de-DE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1136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305175" y="509588"/>
            <a:ext cx="3397250" cy="25479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334504" y="3227938"/>
            <a:ext cx="7338595" cy="3057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54777"/>
            <a:ext cx="4337718" cy="33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r>
              <a:rPr lang="de-DE" dirty="0"/>
              <a:t>Corporate Presentation</a:t>
            </a:r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69883" y="6454777"/>
            <a:ext cx="4337718" cy="33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C00D9AA7-9C2C-420B-9163-D67DA61B2697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1820655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15" charset="0"/>
        <a:ea typeface="ヒラギノ角ゴ Pro W3" pitchFamily="15" charset="-128"/>
        <a:cs typeface="ヒラギノ角ゴ Pro W3" pitchFamily="15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15" charset="0"/>
        <a:ea typeface="ヒラギノ角ゴ Pro W3" pitchFamily="15" charset="-128"/>
        <a:cs typeface="ヒラギノ角ゴ Pro W3" pitchFamily="15" charset="-128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15" charset="0"/>
        <a:ea typeface="ヒラギノ角ゴ Pro W3" pitchFamily="15" charset="-128"/>
        <a:cs typeface="ヒラギノ角ゴ Pro W3" pitchFamily="15" charset="-128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15" charset="0"/>
        <a:ea typeface="ヒラギノ角ゴ Pro W3" pitchFamily="15" charset="-128"/>
        <a:cs typeface="ヒラギノ角ゴ Pro W3" pitchFamily="15" charset="-128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15" charset="0"/>
        <a:ea typeface="ヒラギノ角ゴ Pro W3" pitchFamily="15" charset="-128"/>
        <a:cs typeface="ヒラギノ角ゴ Pro W3" pitchFamily="15" charset="-128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7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.tif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tif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tiff"/><Relationship Id="rId5" Type="http://schemas.openxmlformats.org/officeDocument/2006/relationships/image" Target="../media/image2.w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1.tif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9" Type="http://schemas.openxmlformats.org/officeDocument/2006/relationships/image" Target="../media/image1.tif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image" Target="../media/image1.tif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image" Target="../media/image1.tif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8.v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9" Type="http://schemas.openxmlformats.org/officeDocument/2006/relationships/image" Target="../media/image1.tif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1.tif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tiff"/><Relationship Id="rId3" Type="http://schemas.openxmlformats.org/officeDocument/2006/relationships/tags" Target="../tags/tag44.xml"/><Relationship Id="rId7" Type="http://schemas.openxmlformats.org/officeDocument/2006/relationships/oleObject" Target="../embeddings/oleObject10.bin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BalSoBa_blue_rgb.tif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772431" y="358491"/>
            <a:ext cx="3035077" cy="360000"/>
          </a:xfrm>
          <a:prstGeom prst="rect">
            <a:avLst/>
          </a:prstGeom>
        </p:spPr>
      </p:pic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6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611188" y="690524"/>
            <a:ext cx="7923213" cy="86400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de-CH" noProof="0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0"/>
          </p:nvPr>
        </p:nvSpPr>
        <p:spPr>
          <a:xfrm>
            <a:off x="611187" y="1844675"/>
            <a:ext cx="7921626" cy="388937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23" name="Rectangle 3"/>
          <p:cNvSpPr txBox="1">
            <a:spLocks noChangeArrowheads="1"/>
          </p:cNvSpPr>
          <p:nvPr userDrawn="1"/>
        </p:nvSpPr>
        <p:spPr bwMode="auto">
          <a:xfrm>
            <a:off x="611188" y="6167475"/>
            <a:ext cx="21205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20000"/>
              </a:spcBef>
              <a:buClr>
                <a:schemeClr val="tx2"/>
              </a:buClr>
            </a:pPr>
            <a:r>
              <a:rPr lang="de-CH" sz="1400" b="1" noProof="0" dirty="0" smtClean="0">
                <a:solidFill>
                  <a:schemeClr val="accent1"/>
                </a:solidFill>
              </a:rPr>
              <a:t>Wir machen Sie sicherer.</a:t>
            </a:r>
            <a:endParaRPr lang="de-CH" sz="1400" b="1" noProof="0" dirty="0">
              <a:solidFill>
                <a:schemeClr val="accent1"/>
              </a:solidFill>
            </a:endParaRPr>
          </a:p>
        </p:txBody>
      </p:sp>
      <p:pic>
        <p:nvPicPr>
          <p:cNvPr id="11" name="Grafik 10" descr="Unbenannt-1.wmf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6678658"/>
            <a:ext cx="9144000" cy="18997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4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6"/>
          <p:cNvGrpSpPr/>
          <p:nvPr userDrawn="1"/>
        </p:nvGrpSpPr>
        <p:grpSpPr>
          <a:xfrm>
            <a:off x="0" y="6678656"/>
            <a:ext cx="9144000" cy="179344"/>
            <a:chOff x="0" y="5976000"/>
            <a:chExt cx="9144000" cy="180000"/>
          </a:xfrm>
        </p:grpSpPr>
        <p:sp>
          <p:nvSpPr>
            <p:cNvPr id="18" name="Eine Ecke des Rechtecks schneiden 17"/>
            <p:cNvSpPr/>
            <p:nvPr userDrawn="1"/>
          </p:nvSpPr>
          <p:spPr bwMode="auto">
            <a:xfrm flipH="1">
              <a:off x="6120000" y="5976000"/>
              <a:ext cx="3024000" cy="180000"/>
            </a:xfrm>
            <a:prstGeom prst="snip1Rect">
              <a:avLst>
                <a:gd name="adj" fmla="val 50000"/>
              </a:avLst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sp>
          <p:nvSpPr>
            <p:cNvPr id="19" name="Eine Ecke des Rechtecks schneiden 18"/>
            <p:cNvSpPr/>
            <p:nvPr userDrawn="1"/>
          </p:nvSpPr>
          <p:spPr bwMode="auto">
            <a:xfrm rot="10800000" flipH="1">
              <a:off x="0" y="5976000"/>
              <a:ext cx="6228000" cy="180000"/>
            </a:xfrm>
            <a:prstGeom prst="snip1Rect">
              <a:avLst>
                <a:gd name="adj" fmla="val 50000"/>
              </a:avLst>
            </a:prstGeom>
            <a:solidFill>
              <a:schemeClr val="tx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sp>
          <p:nvSpPr>
            <p:cNvPr id="20" name="Parallelogramm 19"/>
            <p:cNvSpPr/>
            <p:nvPr userDrawn="1"/>
          </p:nvSpPr>
          <p:spPr bwMode="auto">
            <a:xfrm>
              <a:off x="6048000" y="5976000"/>
              <a:ext cx="288000" cy="180000"/>
            </a:xfrm>
            <a:prstGeom prst="parallelogram">
              <a:avLst>
                <a:gd name="adj" fmla="val 100267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</p:grpSp>
      <p:sp>
        <p:nvSpPr>
          <p:cNvPr id="23" name="Rectangle 3"/>
          <p:cNvSpPr txBox="1">
            <a:spLocks noChangeArrowheads="1"/>
          </p:cNvSpPr>
          <p:nvPr userDrawn="1"/>
        </p:nvSpPr>
        <p:spPr bwMode="auto">
          <a:xfrm>
            <a:off x="611188" y="5842685"/>
            <a:ext cx="3183949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20000"/>
              </a:spcBef>
              <a:buClr>
                <a:schemeClr val="tx2"/>
              </a:buClr>
            </a:pPr>
            <a:r>
              <a:rPr lang="de-CH" sz="2100" b="1" noProof="0" dirty="0" smtClean="0">
                <a:solidFill>
                  <a:schemeClr val="accent1"/>
                </a:solidFill>
              </a:rPr>
              <a:t>Wir machen Sie sicherer.</a:t>
            </a:r>
            <a:endParaRPr lang="de-CH" sz="2100" b="1" noProof="0" dirty="0">
              <a:solidFill>
                <a:schemeClr val="accent1"/>
              </a:solidFill>
            </a:endParaRPr>
          </a:p>
        </p:txBody>
      </p:sp>
      <p:pic>
        <p:nvPicPr>
          <p:cNvPr id="9" name="Grafik 8" descr="BalSoBa_blue_rgb.tif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772431" y="358491"/>
            <a:ext cx="3035077" cy="360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1"/>
          </p:nvPr>
        </p:nvSpPr>
        <p:spPr>
          <a:xfrm>
            <a:off x="0" y="1844675"/>
            <a:ext cx="9144000" cy="4833982"/>
          </a:xfrm>
          <a:solidFill>
            <a:schemeClr val="accent5"/>
          </a:solidFill>
        </p:spPr>
        <p:txBody>
          <a:bodyPr/>
          <a:lstStyle>
            <a:lvl1pPr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de-DE" noProof="0" smtClean="0"/>
              <a:t>Bild durch Klicken auf Symbol hinzufügen</a:t>
            </a:r>
            <a:endParaRPr lang="de-CH" noProof="0" dirty="0"/>
          </a:p>
        </p:txBody>
      </p:sp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6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611188" y="690524"/>
            <a:ext cx="7923213" cy="86400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de-CH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0"/>
          </p:nvPr>
        </p:nvSpPr>
        <p:spPr>
          <a:xfrm>
            <a:off x="611187" y="1566838"/>
            <a:ext cx="7921626" cy="277838"/>
          </a:xfrm>
        </p:spPr>
        <p:txBody>
          <a:bodyPr/>
          <a:lstStyle>
            <a:lvl1pPr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23" name="Rectangle 3"/>
          <p:cNvSpPr txBox="1">
            <a:spLocks noChangeArrowheads="1"/>
          </p:cNvSpPr>
          <p:nvPr userDrawn="1"/>
        </p:nvSpPr>
        <p:spPr bwMode="auto">
          <a:xfrm>
            <a:off x="611188" y="6165850"/>
            <a:ext cx="21205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20000"/>
              </a:spcBef>
              <a:buClr>
                <a:schemeClr val="tx2"/>
              </a:buClr>
            </a:pPr>
            <a:r>
              <a:rPr lang="de-CH" sz="1400" b="1" noProof="0" dirty="0" smtClean="0">
                <a:solidFill>
                  <a:schemeClr val="accent1"/>
                </a:solidFill>
              </a:rPr>
              <a:t>Wir machen Sie sicherer.</a:t>
            </a:r>
            <a:endParaRPr lang="de-CH" sz="1400" b="1" noProof="0" dirty="0">
              <a:solidFill>
                <a:schemeClr val="accent1"/>
              </a:solidFill>
            </a:endParaRPr>
          </a:p>
        </p:txBody>
      </p:sp>
      <p:pic>
        <p:nvPicPr>
          <p:cNvPr id="12" name="Grafik 11" descr="Unbenannt-1.wmf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6678658"/>
            <a:ext cx="9144000" cy="189976"/>
          </a:xfrm>
          <a:prstGeom prst="rect">
            <a:avLst/>
          </a:prstGeom>
        </p:spPr>
      </p:pic>
      <p:pic>
        <p:nvPicPr>
          <p:cNvPr id="9" name="Grafik 8" descr="BalSoBa_blue_rgb.tif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772431" y="358491"/>
            <a:ext cx="3035077" cy="360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84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Inhaltsplatzhalter 29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31" name="Datumsplatzhalter 30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1D5045D-E444-4A71-A071-A5B8BAD35080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33" name="Fußzeilenplatzhalter 3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pic>
        <p:nvPicPr>
          <p:cNvPr id="15" name="Grafik 14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364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Datumsplatzhalter 30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9E7C73D2-7B4D-4BE3-8F0C-CDC290B7A144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33" name="Fußzeilenplatzhalter 3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cxnSp>
        <p:nvCxnSpPr>
          <p:cNvPr id="16" name="Gerade Verbindung 15"/>
          <p:cNvCxnSpPr/>
          <p:nvPr userDrawn="1"/>
        </p:nvCxnSpPr>
        <p:spPr bwMode="auto">
          <a:xfrm>
            <a:off x="611188" y="1844675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 Verbindung 18"/>
          <p:cNvCxnSpPr/>
          <p:nvPr userDrawn="1"/>
        </p:nvCxnSpPr>
        <p:spPr bwMode="auto">
          <a:xfrm>
            <a:off x="4716463" y="1844675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Inhaltsplatzhalter 29"/>
          <p:cNvSpPr>
            <a:spLocks noGrp="1"/>
          </p:cNvSpPr>
          <p:nvPr>
            <p:ph sz="quarter" idx="10"/>
          </p:nvPr>
        </p:nvSpPr>
        <p:spPr>
          <a:xfrm>
            <a:off x="611188" y="1844675"/>
            <a:ext cx="3816350" cy="4321174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21" name="Inhaltsplatzhalter 29"/>
          <p:cNvSpPr>
            <a:spLocks noGrp="1"/>
          </p:cNvSpPr>
          <p:nvPr>
            <p:ph sz="quarter" idx="14"/>
          </p:nvPr>
        </p:nvSpPr>
        <p:spPr>
          <a:xfrm>
            <a:off x="4716463" y="1844675"/>
            <a:ext cx="3816350" cy="4321174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pic>
        <p:nvPicPr>
          <p:cNvPr id="22" name="Grafik 21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Gerade Verbindung 15"/>
          <p:cNvCxnSpPr/>
          <p:nvPr userDrawn="1"/>
        </p:nvCxnSpPr>
        <p:spPr bwMode="auto">
          <a:xfrm>
            <a:off x="611188" y="1844675"/>
            <a:ext cx="2536805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 Verbindung 18"/>
          <p:cNvCxnSpPr/>
          <p:nvPr userDrawn="1"/>
        </p:nvCxnSpPr>
        <p:spPr bwMode="auto">
          <a:xfrm>
            <a:off x="3294045" y="1844675"/>
            <a:ext cx="2555332" cy="357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Inhaltsplatzhalter 29"/>
          <p:cNvSpPr>
            <a:spLocks noGrp="1"/>
          </p:cNvSpPr>
          <p:nvPr>
            <p:ph sz="quarter" idx="15"/>
          </p:nvPr>
        </p:nvSpPr>
        <p:spPr>
          <a:xfrm>
            <a:off x="3294045" y="1844676"/>
            <a:ext cx="2555910" cy="4321174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436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198655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Inhaltsplatzhalter 29"/>
          <p:cNvSpPr>
            <a:spLocks noGrp="1"/>
          </p:cNvSpPr>
          <p:nvPr>
            <p:ph sz="quarter" idx="10"/>
          </p:nvPr>
        </p:nvSpPr>
        <p:spPr>
          <a:xfrm>
            <a:off x="611188" y="1844675"/>
            <a:ext cx="2536805" cy="4321174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31" name="Datumsplatzhalter 30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2CCEC8CC-5EF7-49FF-9024-E9916B22ED36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33" name="Fußzeilenplatzhalter 3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cxnSp>
        <p:nvCxnSpPr>
          <p:cNvPr id="23" name="Gerade Verbindung 22"/>
          <p:cNvCxnSpPr/>
          <p:nvPr userDrawn="1"/>
        </p:nvCxnSpPr>
        <p:spPr bwMode="auto">
          <a:xfrm>
            <a:off x="5996007" y="1844675"/>
            <a:ext cx="2536215" cy="5371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9" name="Inhaltsplatzhalter 29"/>
          <p:cNvSpPr>
            <a:spLocks noGrp="1"/>
          </p:cNvSpPr>
          <p:nvPr>
            <p:ph sz="quarter" idx="14"/>
          </p:nvPr>
        </p:nvSpPr>
        <p:spPr>
          <a:xfrm>
            <a:off x="5996007" y="1844675"/>
            <a:ext cx="2536806" cy="4321174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pic>
        <p:nvPicPr>
          <p:cNvPr id="20" name="Grafik 19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388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Datumsplatzhalter 30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D261DF7D-1C3F-42E3-B883-2D801DE82FBC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33" name="Fußzeilenplatzhalter 3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cxnSp>
        <p:nvCxnSpPr>
          <p:cNvPr id="21" name="Gerade Verbindung 20"/>
          <p:cNvCxnSpPr/>
          <p:nvPr userDrawn="1"/>
        </p:nvCxnSpPr>
        <p:spPr bwMode="auto">
          <a:xfrm>
            <a:off x="611188" y="1844675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Gerade Verbindung 22"/>
          <p:cNvCxnSpPr/>
          <p:nvPr userDrawn="1"/>
        </p:nvCxnSpPr>
        <p:spPr bwMode="auto">
          <a:xfrm>
            <a:off x="611188" y="4075112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Gerade Verbindung 33"/>
          <p:cNvCxnSpPr/>
          <p:nvPr userDrawn="1"/>
        </p:nvCxnSpPr>
        <p:spPr bwMode="auto">
          <a:xfrm>
            <a:off x="4716463" y="1844675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Gerade Verbindung 35"/>
          <p:cNvCxnSpPr/>
          <p:nvPr userDrawn="1"/>
        </p:nvCxnSpPr>
        <p:spPr bwMode="auto">
          <a:xfrm>
            <a:off x="4716463" y="4075112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Inhaltsplatzhalter 29"/>
          <p:cNvSpPr>
            <a:spLocks noGrp="1"/>
          </p:cNvSpPr>
          <p:nvPr>
            <p:ph sz="quarter" idx="10"/>
          </p:nvPr>
        </p:nvSpPr>
        <p:spPr>
          <a:xfrm>
            <a:off x="611188" y="1844675"/>
            <a:ext cx="3816350" cy="2089150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39" name="Inhaltsplatzhalter 29"/>
          <p:cNvSpPr>
            <a:spLocks noGrp="1"/>
          </p:cNvSpPr>
          <p:nvPr>
            <p:ph sz="quarter" idx="14"/>
          </p:nvPr>
        </p:nvSpPr>
        <p:spPr>
          <a:xfrm>
            <a:off x="4716463" y="1844675"/>
            <a:ext cx="3816350" cy="2089150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40" name="Inhaltsplatzhalter 29"/>
          <p:cNvSpPr>
            <a:spLocks noGrp="1"/>
          </p:cNvSpPr>
          <p:nvPr>
            <p:ph sz="quarter" idx="15"/>
          </p:nvPr>
        </p:nvSpPr>
        <p:spPr>
          <a:xfrm>
            <a:off x="611188" y="4076700"/>
            <a:ext cx="3816350" cy="2089150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41" name="Inhaltsplatzhalter 29"/>
          <p:cNvSpPr>
            <a:spLocks noGrp="1"/>
          </p:cNvSpPr>
          <p:nvPr>
            <p:ph sz="quarter" idx="16"/>
          </p:nvPr>
        </p:nvSpPr>
        <p:spPr>
          <a:xfrm>
            <a:off x="4716463" y="4076700"/>
            <a:ext cx="3816350" cy="2089150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pic>
        <p:nvPicPr>
          <p:cNvPr id="22" name="Grafik 21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Fliess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92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extplatzhalter 14"/>
          <p:cNvSpPr>
            <a:spLocks noGrp="1"/>
          </p:cNvSpPr>
          <p:nvPr>
            <p:ph type="body" sz="quarter" idx="10"/>
          </p:nvPr>
        </p:nvSpPr>
        <p:spPr/>
        <p:txBody>
          <a:bodyPr/>
          <a:lstStyle>
            <a:lvl1pPr marL="0" indent="0">
              <a:buNone/>
              <a:defRPr sz="1600"/>
            </a:lvl1pPr>
            <a:lvl2pPr marL="0" indent="0"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None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16" name="Datumsplatzhalter 1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790E85F-1F0D-4DDB-A085-909767E546A3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pic>
        <p:nvPicPr>
          <p:cNvPr id="14" name="Grafik 13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64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Datumsplatzhalter 1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790E85F-1F0D-4DDB-A085-909767E546A3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pic>
        <p:nvPicPr>
          <p:cNvPr id="14" name="Grafik 13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übersic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 bwMode="auto">
          <a:xfrm>
            <a:off x="0" y="6165850"/>
            <a:ext cx="9144000" cy="6921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graphicFrame>
        <p:nvGraphicFramePr>
          <p:cNvPr id="2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34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/>
          <p:cNvSpPr>
            <a:spLocks noGrp="1"/>
          </p:cNvSpPr>
          <p:nvPr>
            <p:ph type="body" sz="quarter" idx="17"/>
          </p:nvPr>
        </p:nvSpPr>
        <p:spPr>
          <a:xfrm>
            <a:off x="611188" y="692150"/>
            <a:ext cx="7921625" cy="5041900"/>
          </a:xfrm>
        </p:spPr>
        <p:txBody>
          <a:bodyPr>
            <a:normAutofit/>
          </a:bodyPr>
          <a:lstStyle>
            <a:lvl1pPr marL="360000" indent="-360000">
              <a:spcBef>
                <a:spcPts val="0"/>
              </a:spcBef>
              <a:buNone/>
              <a:tabLst>
                <a:tab pos="358775" algn="l"/>
              </a:tabLst>
              <a:defRPr sz="2100" b="1">
                <a:solidFill>
                  <a:schemeClr val="tx2"/>
                </a:solidFill>
              </a:defRPr>
            </a:lvl1pPr>
            <a:lvl2pPr marL="360000" indent="0">
              <a:spcBef>
                <a:spcPts val="0"/>
              </a:spcBef>
              <a:buNone/>
              <a:tabLst/>
              <a:defRPr sz="2100">
                <a:solidFill>
                  <a:schemeClr val="tx2"/>
                </a:solidFill>
              </a:defRPr>
            </a:lvl2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24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28" name="Line 7"/>
          <p:cNvSpPr>
            <a:spLocks noChangeShapeType="1"/>
          </p:cNvSpPr>
          <p:nvPr userDrawn="1">
            <p:custDataLst>
              <p:tags r:id="rId4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9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30" name="Gerade Verbindung 29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Gerade Verbindung 30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2" name="Datumsplatzhalter 3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defRPr/>
            </a:pPr>
            <a:fld id="{A521C20E-ED6B-4BD8-A498-F3599D4535F7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33" name="Foliennummernplatzhalter 3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34" name="Fußzeilenplatzhalter 3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pic>
        <p:nvPicPr>
          <p:cNvPr id="15" name="Grafik 14" descr="BalSoBa_blue_rgb.tif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0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Relationship Id="rId22" Type="http://schemas.openxmlformats.org/officeDocument/2006/relationships/image" Target="../media/image1.tif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 descr="BalSoBa_blue_rgb.tif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  <p:graphicFrame>
        <p:nvGraphicFramePr>
          <p:cNvPr id="1026" name="Rectangle 13" hidden="1"/>
          <p:cNvGraphicFramePr>
            <a:graphicFrameLocks/>
          </p:cNvGraphicFramePr>
          <p:nvPr>
            <p:custDataLst>
              <p:tags r:id="rId1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" name="think-cell Slide" r:id="rId23" imgW="0" imgH="0" progId="">
                  <p:embed/>
                </p:oleObj>
              </mc:Choice>
              <mc:Fallback>
                <p:oleObj name="think-cell Slide" r:id="rId23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4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029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 smtClean="0"/>
              <a:t>Mastertitelformat bearbeiten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611187" y="1844674"/>
            <a:ext cx="7921626" cy="432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 smtClean="0"/>
              <a:t>Mastertextformat bearbeiten</a:t>
            </a:r>
          </a:p>
          <a:p>
            <a:pPr lvl="1"/>
            <a:r>
              <a:rPr lang="de-CH" noProof="0" smtClean="0"/>
              <a:t>Zweite Ebene</a:t>
            </a:r>
          </a:p>
          <a:p>
            <a:pPr lvl="2"/>
            <a:r>
              <a:rPr lang="de-CH" noProof="0" smtClean="0"/>
              <a:t>Drit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  <p:custDataLst>
              <p:tags r:id="rId17"/>
            </p:custDataLst>
          </p:nvPr>
        </p:nvSpPr>
        <p:spPr bwMode="auto">
          <a:xfrm>
            <a:off x="6945344" y="6357958"/>
            <a:ext cx="120492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90000" rIns="72000" bIns="9000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80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39E4B9E7-13B1-4F96-88D4-5D9D13F4F742}" type="datetime4">
              <a:rPr lang="de-CH" noProof="0" smtClean="0"/>
              <a:pPr>
                <a:defRPr/>
              </a:pPr>
              <a:t>16. September 2016</a:t>
            </a:fld>
            <a:endParaRPr lang="de-CH" noProof="0"/>
          </a:p>
        </p:txBody>
      </p:sp>
      <p:sp>
        <p:nvSpPr>
          <p:cNvPr id="2" name="Rectangle 5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2855889" y="6357958"/>
            <a:ext cx="3084534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90000" rIns="72000" bIns="9000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80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endParaRPr lang="de-CH" noProof="0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8150274" y="6357958"/>
            <a:ext cx="38253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90000" rIns="0" bIns="9000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800" baseline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/>
          </a:p>
        </p:txBody>
      </p:sp>
      <p:sp>
        <p:nvSpPr>
          <p:cNvPr id="17" name="Line 7"/>
          <p:cNvSpPr>
            <a:spLocks noChangeShapeType="1"/>
          </p:cNvSpPr>
          <p:nvPr>
            <p:custDataLst>
              <p:tags r:id="rId20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13" name="Line 7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16" name="Gerade Verbindung 15"/>
          <p:cNvCxnSpPr/>
          <p:nvPr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Gerade Verbindung 20"/>
          <p:cNvCxnSpPr/>
          <p:nvPr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4" r:id="rId2"/>
    <p:sldLayoutId id="2147483722" r:id="rId3"/>
    <p:sldLayoutId id="2147483728" r:id="rId4"/>
    <p:sldLayoutId id="2147483730" r:id="rId5"/>
    <p:sldLayoutId id="2147483729" r:id="rId6"/>
    <p:sldLayoutId id="2147483725" r:id="rId7"/>
    <p:sldLayoutId id="2147483732" r:id="rId8"/>
    <p:sldLayoutId id="2147483727" r:id="rId9"/>
    <p:sldLayoutId id="2147483731" r:id="rId10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15" charset="0"/>
          <a:ea typeface="ヒラギノ角ゴ Pro W3" pitchFamily="15" charset="-128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15" charset="0"/>
          <a:ea typeface="ヒラギノ角ゴ Pro W3" pitchFamily="15" charset="-128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15" charset="0"/>
          <a:ea typeface="ヒラギノ角ゴ Pro W3" pitchFamily="15" charset="-128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15" charset="0"/>
          <a:ea typeface="ヒラギノ角ゴ Pro W3" pitchFamily="15" charset="-128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15" charset="0"/>
          <a:ea typeface="ヒラギノ角ゴ Pro W3" pitchFamily="15" charset="-128"/>
          <a:cs typeface="ヒラギノ角ゴ Pro W3" pitchFamily="15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15" charset="0"/>
          <a:ea typeface="ヒラギノ角ゴ Pro W3" pitchFamily="15" charset="-128"/>
          <a:cs typeface="ヒラギノ角ゴ Pro W3" pitchFamily="15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15" charset="0"/>
          <a:ea typeface="ヒラギノ角ゴ Pro W3" pitchFamily="15" charset="-128"/>
          <a:cs typeface="ヒラギノ角ゴ Pro W3" pitchFamily="15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15" charset="0"/>
          <a:ea typeface="ヒラギノ角ゴ Pro W3" pitchFamily="15" charset="-128"/>
          <a:cs typeface="ヒラギノ角ゴ Pro W3" pitchFamily="15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à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–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Symbol" pitchFamily="18" charset="2"/>
        <a:buChar char="-"/>
        <a:defRPr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00">
          <a:solidFill>
            <a:schemeClr val="tx1"/>
          </a:solidFill>
          <a:latin typeface="+mn-lt"/>
          <a:ea typeface="+mn-ea"/>
          <a:cs typeface="+mn-cs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000">
          <a:solidFill>
            <a:schemeClr val="tx1"/>
          </a:solidFill>
          <a:latin typeface="+mn-lt"/>
          <a:ea typeface="+mn-ea"/>
          <a:cs typeface="+mn-cs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000">
          <a:solidFill>
            <a:schemeClr val="tx1"/>
          </a:solidFill>
          <a:latin typeface="+mn-lt"/>
          <a:ea typeface="+mn-ea"/>
          <a:cs typeface="+mn-cs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000">
          <a:solidFill>
            <a:schemeClr val="tx1"/>
          </a:solidFill>
          <a:latin typeface="+mn-lt"/>
          <a:ea typeface="+mn-ea"/>
          <a:cs typeface="+mn-cs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000">
          <a:solidFill>
            <a:schemeClr val="tx1"/>
          </a:solidFill>
          <a:latin typeface="+mn-lt"/>
          <a:ea typeface="+mn-ea"/>
          <a:cs typeface="+mn-cs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3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Szene Eigenheim-Kauf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1D5045D-E444-4A71-A071-A5B8BAD35080}" type="datetime4">
              <a:rPr lang="de-CH" noProof="0" smtClean="0"/>
              <a:pPr>
                <a:defRPr/>
              </a:pPr>
              <a:t>17. September 2016</a:t>
            </a:fld>
            <a:endParaRPr lang="de-CH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1</a:t>
            </a:fld>
            <a:endParaRPr lang="de-CH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de-CH" dirty="0"/>
          </a:p>
        </p:txBody>
      </p:sp>
      <p:pic>
        <p:nvPicPr>
          <p:cNvPr id="64307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2"/>
          <a:stretch/>
        </p:blipFill>
        <p:spPr bwMode="auto">
          <a:xfrm>
            <a:off x="0" y="476672"/>
            <a:ext cx="8891464" cy="60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Abgerundete rechteckige Legende 6"/>
          <p:cNvSpPr/>
          <p:nvPr/>
        </p:nvSpPr>
        <p:spPr bwMode="auto">
          <a:xfrm>
            <a:off x="467544" y="1556792"/>
            <a:ext cx="1794044" cy="432048"/>
          </a:xfrm>
          <a:prstGeom prst="wedgeRoundRectCallout">
            <a:avLst>
              <a:gd name="adj1" fmla="val 63910"/>
              <a:gd name="adj2" fmla="val 45765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Cooles Haus!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8" name="Abgerundete rechteckige Legende 7"/>
          <p:cNvSpPr/>
          <p:nvPr/>
        </p:nvSpPr>
        <p:spPr bwMode="auto">
          <a:xfrm>
            <a:off x="7452320" y="1827788"/>
            <a:ext cx="1656184" cy="872614"/>
          </a:xfrm>
          <a:prstGeom prst="wedgeRoundRectCallout">
            <a:avLst>
              <a:gd name="adj1" fmla="val -64488"/>
              <a:gd name="adj2" fmla="val 45765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Hm, meines ist aber auch ganz hübsch!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9" name="Abgerundete rechteckige Legende 8"/>
          <p:cNvSpPr/>
          <p:nvPr/>
        </p:nvSpPr>
        <p:spPr bwMode="auto">
          <a:xfrm>
            <a:off x="467544" y="2484378"/>
            <a:ext cx="1794044" cy="656590"/>
          </a:xfrm>
          <a:prstGeom prst="wedgeRoundRectCallout">
            <a:avLst>
              <a:gd name="adj1" fmla="val 64503"/>
              <a:gd name="adj2" fmla="val 423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dirty="0" smtClean="0"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Hat deines auch einen Pool?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10" name="Abgerundete rechteckige Legende 9"/>
          <p:cNvSpPr/>
          <p:nvPr/>
        </p:nvSpPr>
        <p:spPr bwMode="auto">
          <a:xfrm>
            <a:off x="7452320" y="3140968"/>
            <a:ext cx="1656184" cy="720080"/>
          </a:xfrm>
          <a:prstGeom prst="wedgeRoundRectCallout">
            <a:avLst>
              <a:gd name="adj1" fmla="val -74760"/>
              <a:gd name="adj2" fmla="val -33970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Nein, aber drei Badezimmer.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11" name="Abgerundete rechteckige Legende 10"/>
          <p:cNvSpPr/>
          <p:nvPr/>
        </p:nvSpPr>
        <p:spPr bwMode="auto">
          <a:xfrm>
            <a:off x="526945" y="4452984"/>
            <a:ext cx="1794044" cy="1424288"/>
          </a:xfrm>
          <a:prstGeom prst="wedgeRoundRectCallout">
            <a:avLst>
              <a:gd name="adj1" fmla="val 62132"/>
              <a:gd name="adj2" fmla="val -33366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dirty="0" smtClean="0"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Keine Ahnung. Aber können wir uns deines überhaupt leisten?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12" name="Abgerundete rechteckige Legende 11"/>
          <p:cNvSpPr/>
          <p:nvPr/>
        </p:nvSpPr>
        <p:spPr bwMode="auto">
          <a:xfrm>
            <a:off x="7452320" y="5313232"/>
            <a:ext cx="1656184" cy="1068095"/>
          </a:xfrm>
          <a:prstGeom prst="wedgeRoundRectCallout">
            <a:avLst>
              <a:gd name="adj1" fmla="val -74760"/>
              <a:gd name="adj2" fmla="val -79744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Musst du wissen, ich will drei</a:t>
            </a:r>
            <a:r>
              <a:rPr kumimoji="0" lang="de-CH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 Badezimmer!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13" name="Abgerundete rechteckige Legende 12"/>
          <p:cNvSpPr/>
          <p:nvPr/>
        </p:nvSpPr>
        <p:spPr bwMode="auto">
          <a:xfrm>
            <a:off x="536474" y="3501008"/>
            <a:ext cx="1794044" cy="600456"/>
          </a:xfrm>
          <a:prstGeom prst="wedgeRoundRectCallout">
            <a:avLst>
              <a:gd name="adj1" fmla="val 65688"/>
              <a:gd name="adj2" fmla="val -44543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dirty="0" smtClean="0"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Wozu drei Badezimmer?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14" name="Abgerundete rechteckige Legende 13"/>
          <p:cNvSpPr/>
          <p:nvPr/>
        </p:nvSpPr>
        <p:spPr bwMode="auto">
          <a:xfrm>
            <a:off x="7452320" y="4101464"/>
            <a:ext cx="1656184" cy="1055728"/>
          </a:xfrm>
          <a:prstGeom prst="wedgeRoundRectCallout">
            <a:avLst>
              <a:gd name="adj1" fmla="val -72192"/>
              <a:gd name="adj2" fmla="val -52934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dirty="0" smtClean="0"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Von deinem hast du doch zu lange zur Arbeit!?!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96470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1D5045D-E444-4A71-A071-A5B8BAD35080}" type="datetime4">
              <a:rPr lang="de-CH" noProof="0" smtClean="0"/>
              <a:pPr>
                <a:defRPr/>
              </a:pPr>
              <a:t>17. September 2016</a:t>
            </a:fld>
            <a:endParaRPr lang="de-CH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2</a:t>
            </a:fld>
            <a:endParaRPr lang="de-CH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de-CH" dirty="0"/>
          </a:p>
        </p:txBody>
      </p:sp>
      <p:sp>
        <p:nvSpPr>
          <p:cNvPr id="16" name="Rechteck 15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4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80" y="260648"/>
            <a:ext cx="9119857" cy="6048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1939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1D5045D-E444-4A71-A071-A5B8BAD35080}" type="datetime4">
              <a:rPr lang="de-CH" noProof="0" smtClean="0"/>
              <a:pPr>
                <a:defRPr/>
              </a:pPr>
              <a:t>17. September 2016</a:t>
            </a:fld>
            <a:endParaRPr lang="de-CH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3</a:t>
            </a:fld>
            <a:endParaRPr lang="de-CH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de-CH" dirty="0"/>
          </a:p>
        </p:txBody>
      </p:sp>
      <p:sp>
        <p:nvSpPr>
          <p:cNvPr id="16" name="Rechteck 15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4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55" y="620688"/>
            <a:ext cx="9093149" cy="54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hteck 2"/>
          <p:cNvSpPr/>
          <p:nvPr/>
        </p:nvSpPr>
        <p:spPr bwMode="auto">
          <a:xfrm>
            <a:off x="1043608" y="2384884"/>
            <a:ext cx="7272808" cy="93610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4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Mein Eigenheim App</a:t>
            </a:r>
          </a:p>
        </p:txBody>
      </p:sp>
      <p:sp>
        <p:nvSpPr>
          <p:cNvPr id="11" name="Rechteck 10"/>
          <p:cNvSpPr/>
          <p:nvPr/>
        </p:nvSpPr>
        <p:spPr bwMode="auto">
          <a:xfrm>
            <a:off x="1043608" y="3274132"/>
            <a:ext cx="7272808" cy="9361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2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Wir machen Sie sicherer</a:t>
            </a:r>
          </a:p>
        </p:txBody>
      </p:sp>
      <p:pic>
        <p:nvPicPr>
          <p:cNvPr id="64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2446" y="3487544"/>
            <a:ext cx="1331962" cy="509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12498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1D5045D-E444-4A71-A071-A5B8BAD35080}" type="datetime4">
              <a:rPr lang="de-CH" noProof="0" smtClean="0"/>
              <a:pPr>
                <a:defRPr/>
              </a:pPr>
              <a:t>17. September 2016</a:t>
            </a:fld>
            <a:endParaRPr lang="de-CH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4</a:t>
            </a:fld>
            <a:endParaRPr lang="de-CH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de-CH" dirty="0"/>
          </a:p>
        </p:txBody>
      </p:sp>
      <p:sp>
        <p:nvSpPr>
          <p:cNvPr id="16" name="Rechteck 15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4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0635" y="2145871"/>
            <a:ext cx="1524365" cy="3011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980728"/>
            <a:ext cx="1266825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614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747815"/>
            <a:ext cx="200977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614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3095" y="2486002"/>
            <a:ext cx="1314450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615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7071" y="3152775"/>
            <a:ext cx="192405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6151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978" y="4725144"/>
            <a:ext cx="140970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6152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453" y="5349475"/>
            <a:ext cx="1789361" cy="5277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6153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36" y="4505703"/>
            <a:ext cx="722560" cy="6514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6154" name="Picture 1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9786" y="5349475"/>
            <a:ext cx="1773932" cy="562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6155" name="Picture 11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1004" y="384473"/>
            <a:ext cx="1205008" cy="1272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Abgerundete rechteckige Legende 6"/>
          <p:cNvSpPr/>
          <p:nvPr/>
        </p:nvSpPr>
        <p:spPr bwMode="auto">
          <a:xfrm>
            <a:off x="251520" y="764704"/>
            <a:ext cx="2304256" cy="1584176"/>
          </a:xfrm>
          <a:prstGeom prst="wedgeRoundRectCallout">
            <a:avLst>
              <a:gd name="adj1" fmla="val 89910"/>
              <a:gd name="adj2" fmla="val 56459"/>
              <a:gd name="adj3" fmla="val 16667"/>
            </a:avLst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20" name="Abgerundete rechteckige Legende 19"/>
          <p:cNvSpPr/>
          <p:nvPr/>
        </p:nvSpPr>
        <p:spPr bwMode="auto">
          <a:xfrm>
            <a:off x="6015874" y="188640"/>
            <a:ext cx="2304256" cy="1584176"/>
          </a:xfrm>
          <a:prstGeom prst="wedgeRoundRectCallout">
            <a:avLst>
              <a:gd name="adj1" fmla="val -83127"/>
              <a:gd name="adj2" fmla="val 85319"/>
              <a:gd name="adj3" fmla="val 16667"/>
            </a:avLst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21" name="Abgerundete rechteckige Legende 20"/>
          <p:cNvSpPr/>
          <p:nvPr/>
        </p:nvSpPr>
        <p:spPr bwMode="auto">
          <a:xfrm>
            <a:off x="6053281" y="2360687"/>
            <a:ext cx="2304256" cy="1584176"/>
          </a:xfrm>
          <a:prstGeom prst="wedgeRoundRectCallout">
            <a:avLst>
              <a:gd name="adj1" fmla="val -84050"/>
              <a:gd name="adj2" fmla="val 18202"/>
              <a:gd name="adj3" fmla="val 16667"/>
            </a:avLst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22" name="Abgerundete rechteckige Legende 21"/>
          <p:cNvSpPr/>
          <p:nvPr/>
        </p:nvSpPr>
        <p:spPr bwMode="auto">
          <a:xfrm>
            <a:off x="5991380" y="4495031"/>
            <a:ext cx="2304256" cy="1584176"/>
          </a:xfrm>
          <a:prstGeom prst="wedgeRoundRectCallout">
            <a:avLst>
              <a:gd name="adj1" fmla="val -81743"/>
              <a:gd name="adj2" fmla="val -38848"/>
              <a:gd name="adj3" fmla="val 16667"/>
            </a:avLst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23" name="Abgerundete rechteckige Legende 22"/>
          <p:cNvSpPr/>
          <p:nvPr/>
        </p:nvSpPr>
        <p:spPr bwMode="auto">
          <a:xfrm>
            <a:off x="611560" y="4365104"/>
            <a:ext cx="2304256" cy="1584176"/>
          </a:xfrm>
          <a:prstGeom prst="wedgeRoundRectCallout">
            <a:avLst>
              <a:gd name="adj1" fmla="val 75144"/>
              <a:gd name="adj2" fmla="val -83817"/>
              <a:gd name="adj3" fmla="val 16667"/>
            </a:avLst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580314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6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6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6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6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6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6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6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6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6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20" grpId="0" animBg="1"/>
      <p:bldP spid="21" grpId="0" animBg="1"/>
      <p:bldP spid="22" grpId="0" animBg="1"/>
      <p:bldP spid="2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105157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Startseite</a:t>
            </a:r>
            <a:endParaRPr lang="de-CH" sz="1800" b="1" dirty="0">
              <a:solidFill>
                <a:srgbClr val="000000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0400" y="799967"/>
            <a:ext cx="2883026" cy="5275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4986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Warum?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790E85F-1F0D-4DDB-A085-909767E546A3}" type="datetime4">
              <a:rPr lang="de-CH" noProof="0" smtClean="0"/>
              <a:pPr>
                <a:defRPr/>
              </a:pPr>
              <a:t>17. September 2016</a:t>
            </a:fld>
            <a:endParaRPr lang="de-CH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6</a:t>
            </a:fld>
            <a:endParaRPr lang="de-CH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de-CH" dirty="0"/>
          </a:p>
        </p:txBody>
      </p:sp>
      <p:pic>
        <p:nvPicPr>
          <p:cNvPr id="64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586" y="1772817"/>
            <a:ext cx="2375364" cy="403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916832"/>
            <a:ext cx="1898775" cy="3756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2"/>
          <a:stretch/>
        </p:blipFill>
        <p:spPr bwMode="auto">
          <a:xfrm>
            <a:off x="2510335" y="2165598"/>
            <a:ext cx="4258430" cy="2919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2052" name="Picture 4" descr="\\BALGROUPIT.COM\U_DATA\CH\SOB\BAS1\b036702\Desktop\Hackathon\Icons\Icon_Dollar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3088307"/>
            <a:ext cx="780914" cy="1074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2053" name="Picture 5" descr="\\BALGROUPIT.COM\U_DATA\CH\SOB\BAS1\b036702\Desktop\Hackathon\Icons\Icon_Herz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8788" y="3140968"/>
            <a:ext cx="1301524" cy="1096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2054" name="Picture 6" descr="\\BALGROUPIT.COM\U_DATA\CH\SOB\BAS1\b036702\Desktop\Hackathon\Icons\Icon_renovieren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0716" y="3212726"/>
            <a:ext cx="1065229" cy="1024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6637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790E85F-1F0D-4DDB-A085-909767E546A3}" type="datetime4">
              <a:rPr lang="de-CH" noProof="0" smtClean="0"/>
              <a:pPr>
                <a:defRPr/>
              </a:pPr>
              <a:t>17. September 2016</a:t>
            </a:fld>
            <a:endParaRPr lang="de-CH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7</a:t>
            </a:fld>
            <a:endParaRPr lang="de-CH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de-CH" dirty="0"/>
          </a:p>
        </p:txBody>
      </p:sp>
      <p:sp>
        <p:nvSpPr>
          <p:cNvPr id="8" name="Rechteck 7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89824" y="16894496"/>
            <a:ext cx="6980373" cy="523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47171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21" r="23393" b="28847"/>
          <a:stretch/>
        </p:blipFill>
        <p:spPr bwMode="auto">
          <a:xfrm>
            <a:off x="1553018" y="1368021"/>
            <a:ext cx="5836171" cy="486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itel 1"/>
          <p:cNvSpPr>
            <a:spLocks noGrp="1"/>
          </p:cNvSpPr>
          <p:nvPr>
            <p:ph type="title"/>
          </p:nvPr>
        </p:nvSpPr>
        <p:spPr>
          <a:xfrm>
            <a:off x="611188" y="692150"/>
            <a:ext cx="7923213" cy="863600"/>
          </a:xfrm>
        </p:spPr>
        <p:txBody>
          <a:bodyPr/>
          <a:lstStyle/>
          <a:p>
            <a:r>
              <a:rPr lang="de-CH" dirty="0" err="1" smtClean="0"/>
              <a:t>Vote</a:t>
            </a:r>
            <a:r>
              <a:rPr lang="de-CH" dirty="0" smtClean="0"/>
              <a:t> </a:t>
            </a:r>
            <a:r>
              <a:rPr lang="de-CH" dirty="0" err="1" smtClean="0"/>
              <a:t>for</a:t>
            </a:r>
            <a:r>
              <a:rPr lang="de-CH" dirty="0" smtClean="0"/>
              <a:t> </a:t>
            </a:r>
            <a:r>
              <a:rPr lang="de-CH" dirty="0" err="1" smtClean="0"/>
              <a:t>us</a:t>
            </a:r>
            <a:r>
              <a:rPr lang="de-CH" dirty="0" smtClean="0"/>
              <a:t>!!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484367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652&quot;/&gt;&lt;partner val=&quot;53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1&quot;&gt;&lt;elem&gt;&lt;m_ppcolschidx val=&quot;0&quot;/&gt;&lt;m_rgb r=&quot;0&quot; g=&quot;4f&quot; b=&quot;f2&quot;/&gt;&lt;/elem&gt;&lt;/m_vecMRU&gt;&lt;/m_mruColor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86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z4KeqMY0.liUcDV_oa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J8xmwrc06PAZzOnXIT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Sya3vCVECxFplM0EvZ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0QaCiTW0iFh2pr.W9z_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heme/theme1.xml><?xml version="1.0" encoding="utf-8"?>
<a:theme xmlns:a="http://schemas.openxmlformats.org/drawingml/2006/main" name="BAS_Template_DE_CH_SoBa_270209">
  <a:themeElements>
    <a:clrScheme name="Baloise">
      <a:dk1>
        <a:srgbClr val="000000"/>
      </a:dk1>
      <a:lt1>
        <a:srgbClr val="FFFFFF"/>
      </a:lt1>
      <a:dk2>
        <a:srgbClr val="003399"/>
      </a:dk2>
      <a:lt2>
        <a:srgbClr val="EBF0FA"/>
      </a:lt2>
      <a:accent1>
        <a:srgbClr val="00A5D5"/>
      </a:accent1>
      <a:accent2>
        <a:srgbClr val="E64366"/>
      </a:accent2>
      <a:accent3>
        <a:srgbClr val="F6A800"/>
      </a:accent3>
      <a:accent4>
        <a:srgbClr val="FFDC44"/>
      </a:accent4>
      <a:accent5>
        <a:srgbClr val="CCCCCC"/>
      </a:accent5>
      <a:accent6>
        <a:srgbClr val="B7007A"/>
      </a:accent6>
      <a:hlink>
        <a:srgbClr val="B7007A"/>
      </a:hlink>
      <a:folHlink>
        <a:srgbClr val="B7007A"/>
      </a:folHlink>
    </a:clrScheme>
    <a:fontScheme name="Leere Prä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15" charset="0"/>
            <a:ea typeface="ヒラギノ角ゴ Pro W3" pitchFamily="15" charset="-128"/>
            <a:cs typeface="ヒラギノ角ゴ Pro W3" pitchFamily="15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15" charset="0"/>
            <a:ea typeface="ヒラギノ角ゴ Pro W3" pitchFamily="15" charset="-128"/>
            <a:cs typeface="ヒラギノ角ゴ Pro W3" pitchFamily="15" charset="-128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/>
      <a:lstStyle>
        <a:defPPr marL="342900" indent="-342900">
          <a:spcBef>
            <a:spcPct val="20000"/>
          </a:spcBef>
          <a:buClr>
            <a:schemeClr val="accent1"/>
          </a:buClr>
          <a:buFont typeface="Wingdings" pitchFamily="2" charset="2"/>
          <a:buChar char="à"/>
          <a:defRPr sz="1800" dirty="0">
            <a:solidFill>
              <a:srgbClr val="000000"/>
            </a:solidFill>
          </a:defRPr>
        </a:defPPr>
      </a:lst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4C93"/>
        </a:dk2>
        <a:lt2>
          <a:srgbClr val="FFFFFF"/>
        </a:lt2>
        <a:accent1>
          <a:srgbClr val="FF9900"/>
        </a:accent1>
        <a:accent2>
          <a:srgbClr val="62BDE5"/>
        </a:accent2>
        <a:accent3>
          <a:srgbClr val="FFFFFF"/>
        </a:accent3>
        <a:accent4>
          <a:srgbClr val="000000"/>
        </a:accent4>
        <a:accent5>
          <a:srgbClr val="FFCAAA"/>
        </a:accent5>
        <a:accent6>
          <a:srgbClr val="58ABCF"/>
        </a:accent6>
        <a:hlink>
          <a:srgbClr val="CC0099"/>
        </a:hlink>
        <a:folHlink>
          <a:srgbClr val="CCCC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AS_Template_DE_CH_SoBa_270209</Template>
  <TotalTime>0</TotalTime>
  <Words>90</Words>
  <Application>Microsoft Office PowerPoint</Application>
  <PresentationFormat>Bildschirmpräsentation (4:3)</PresentationFormat>
  <Paragraphs>29</Paragraphs>
  <Slides>7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9" baseType="lpstr">
      <vt:lpstr>BAS_Template_DE_CH_SoBa_270209</vt:lpstr>
      <vt:lpstr>think-cell Slide</vt:lpstr>
      <vt:lpstr>Szene Eigenheim-Kauf</vt:lpstr>
      <vt:lpstr>PowerPoint-Präsentation</vt:lpstr>
      <vt:lpstr>PowerPoint-Präsentation</vt:lpstr>
      <vt:lpstr>PowerPoint-Präsentation</vt:lpstr>
      <vt:lpstr>PowerPoint-Präsentation</vt:lpstr>
      <vt:lpstr>Warum?</vt:lpstr>
      <vt:lpstr>Vote for us!!</vt:lpstr>
    </vt:vector>
  </TitlesOfParts>
  <Company>Baloise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rnings Zalando</dc:title>
  <dc:creator>Sutter, Roger</dc:creator>
  <cp:lastModifiedBy>Sutter, Roger</cp:lastModifiedBy>
  <cp:revision>55</cp:revision>
  <cp:lastPrinted>2008-08-14T16:17:16Z</cp:lastPrinted>
  <dcterms:created xsi:type="dcterms:W3CDTF">2016-05-02T06:18:58Z</dcterms:created>
  <dcterms:modified xsi:type="dcterms:W3CDTF">2016-09-17T11:43:08Z</dcterms:modified>
</cp:coreProperties>
</file>